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36.xml" ContentType="application/vnd.ms-office.chartcolorstyle+xml"/>
  <Override PartName="/ppt/charts/colors37.xml" ContentType="application/vnd.ms-office.chartcolorstyle+xml"/>
  <Override PartName="/ppt/charts/colors38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36.xml" ContentType="application/vnd.ms-office.chartstyle+xml"/>
  <Override PartName="/ppt/charts/style37.xml" ContentType="application/vnd.ms-office.chartstyle+xml"/>
  <Override PartName="/ppt/charts/style38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8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54" r:id="rId37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55"/>
        <p:guide pos="3870"/>
        <p:guide pos="438"/>
        <p:guide orient="horz" pos="4125"/>
        <p:guide orient="horz" pos="1344"/>
        <p:guide pos="3774"/>
        <p:guide pos="7471"/>
        <p:guide pos="6600"/>
        <p:guide orient="horz" pos="672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7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3" Type="http://schemas.openxmlformats.org/officeDocument/2006/relationships/tags" Target="tags/tag76.xml"/><Relationship Id="rId42" Type="http://schemas.openxmlformats.org/officeDocument/2006/relationships/commentAuthors" Target="commentAuthors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handoutMaster" Target="handoutMasters/handoutMaster1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37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package" Target="../embeddings/Workbook37.xlsx"/></Relationships>
</file>

<file path=ppt/charts/_rels/chart38.xml.rels><?xml version="1.0" encoding="UTF-8" standalone="yes"?>
<Relationships xmlns="http://schemas.openxmlformats.org/package/2006/relationships"><Relationship Id="rId3" Type="http://schemas.microsoft.com/office/2011/relationships/chartColorStyle" Target="colors37.xml"/><Relationship Id="rId2" Type="http://schemas.microsoft.com/office/2011/relationships/chartStyle" Target="style37.xml"/><Relationship Id="rId1" Type="http://schemas.openxmlformats.org/officeDocument/2006/relationships/package" Target="../embeddings/Workbook38.xlsx"/></Relationships>
</file>

<file path=ppt/charts/_rels/chart39.xml.rels><?xml version="1.0" encoding="UTF-8" standalone="yes"?>
<Relationships xmlns="http://schemas.openxmlformats.org/package/2006/relationships"><Relationship Id="rId3" Type="http://schemas.microsoft.com/office/2011/relationships/chartColorStyle" Target="colors38.xml"/><Relationship Id="rId2" Type="http://schemas.microsoft.com/office/2011/relationships/chartStyle" Target="style38.xml"/><Relationship Id="rId1" Type="http://schemas.openxmlformats.org/officeDocument/2006/relationships/package" Target="../embeddings/Workbook39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2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92:$B$98</c:f>
              <c:numCache>
                <c:formatCode>General</c:formatCode>
                <c:ptCount val="7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C$92:$C$9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D$92:$D$9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E$92:$E$98</c:f>
              <c:numCache>
                <c:formatCode>0%</c:formatCode>
                <c:ptCount val="7"/>
                <c:pt idx="0">
                  <c:v>0.333333333333333</c:v>
                </c:pt>
                <c:pt idx="1">
                  <c:v>0</c:v>
                </c:pt>
                <c:pt idx="2">
                  <c:v>-0.75</c:v>
                </c:pt>
                <c:pt idx="3">
                  <c:v>-1</c:v>
                </c:pt>
                <c:pt idx="4">
                  <c:v>0</c:v>
                </c:pt>
                <c:pt idx="5">
                  <c:v>0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f31e7336-8ea7-49a0-8afd-b0230a649c32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9ef9fe22-eaf5-4b63-b814-2451fa649291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C$2:$C$51</c:f>
              <c:numCache>
                <c:formatCode>0</c:formatCode>
                <c:ptCount val="50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  <c:pt idx="43">
                  <c:v>29.9545454545455</c:v>
                </c:pt>
                <c:pt idx="44">
                  <c:v>29.8444444444444</c:v>
                </c:pt>
                <c:pt idx="45">
                  <c:v>29.7173913043478</c:v>
                </c:pt>
                <c:pt idx="46">
                  <c:v>29.6808510638298</c:v>
                </c:pt>
                <c:pt idx="47">
                  <c:v>29.6666666666667</c:v>
                </c:pt>
                <c:pt idx="48">
                  <c:v>29.3877551020408</c:v>
                </c:pt>
                <c:pt idx="49">
                  <c:v>29.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58319248826291"/>
          <c:y val="0.187952898550725"/>
          <c:w val="0.801219344742289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C$2:$C$51</c:f>
              <c:numCache>
                <c:formatCode>General</c:formatCode>
                <c:ptCount val="50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  <c:pt idx="43" c:formatCode="0">
                  <c:v>2</c:v>
                </c:pt>
                <c:pt idx="44" c:formatCode="0">
                  <c:v>3.57142857142857</c:v>
                </c:pt>
                <c:pt idx="45" c:formatCode="0">
                  <c:v>3.42857142857143</c:v>
                </c:pt>
                <c:pt idx="46" c:formatCode="0">
                  <c:v>4</c:v>
                </c:pt>
                <c:pt idx="47" c:formatCode="0">
                  <c:v>4.14285714285714</c:v>
                </c:pt>
                <c:pt idx="48" c:formatCode="0">
                  <c:v>2.28571428571429</c:v>
                </c:pt>
                <c:pt idx="49" c:formatCode="0">
                  <c:v>2.857142857142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  <c:pt idx="10">
                  <c:v>89</c:v>
                </c:pt>
                <c:pt idx="11">
                  <c:v>7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  <c:pt idx="10" c:formatCode="0.00%">
                  <c:v>0.0685670261941448</c:v>
                </c:pt>
                <c:pt idx="11" c:formatCode="0.00%">
                  <c:v>0.052631578947368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  <c:pt idx="10" c:formatCode="0.00%">
                  <c:v>-0.0918367346938776</c:v>
                </c:pt>
                <c:pt idx="11" c:formatCode="0.00%">
                  <c:v>-0.17977528089887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2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1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C$2:$C$51</c:f>
              <c:numCache>
                <c:formatCode>0%</c:formatCode>
                <c:ptCount val="50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30547550432277</c:v>
                </c:pt>
                <c:pt idx="47" c:formatCode="0.00%">
                  <c:v>0.0422535211267606</c:v>
                </c:pt>
                <c:pt idx="48" c:formatCode="0.00%">
                  <c:v>0.0027027027027027</c:v>
                </c:pt>
                <c:pt idx="49" c:formatCode="0.00%">
                  <c:v>0.0026954177897574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D$2:$D$51</c:f>
              <c:numCache>
                <c:formatCode>0%</c:formatCode>
                <c:ptCount val="50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875</c:v>
                </c:pt>
                <c:pt idx="48" c:formatCode="0.00%">
                  <c:v>-0.933333333333333</c:v>
                </c:pt>
                <c:pt idx="49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992b8f5c-7129-4d8e-a806-a5758b8464a1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C$2:$C$51</c:f>
              <c:numCache>
                <c:formatCode>0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  <c:pt idx="43">
                  <c:v>7.88636363636364</c:v>
                </c:pt>
                <c:pt idx="44">
                  <c:v>7.71111111111111</c:v>
                </c:pt>
                <c:pt idx="45">
                  <c:v>7.54347826086957</c:v>
                </c:pt>
                <c:pt idx="46">
                  <c:v>7.5531914893617</c:v>
                </c:pt>
                <c:pt idx="47">
                  <c:v>7.70833333333333</c:v>
                </c:pt>
                <c:pt idx="48">
                  <c:v>7.57142857142857</c:v>
                </c:pt>
                <c:pt idx="49">
                  <c:v>7.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C$2:$C$51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  <c:pt idx="43" c:formatCode="0">
                  <c:v>0</c:v>
                </c:pt>
                <c:pt idx="44" c:formatCode="0">
                  <c:v>0</c:v>
                </c:pt>
                <c:pt idx="45" c:formatCode="0">
                  <c:v>0</c:v>
                </c:pt>
                <c:pt idx="46" c:formatCode="0">
                  <c:v>1.14285714285714</c:v>
                </c:pt>
                <c:pt idx="47" c:formatCode="0">
                  <c:v>2.14285714285714</c:v>
                </c:pt>
                <c:pt idx="48" c:formatCode="0">
                  <c:v>0.142857142857143</c:v>
                </c:pt>
                <c:pt idx="49" c:formatCode="0">
                  <c:v>0.1428571428571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  <c:pt idx="10">
                  <c:v>6</c:v>
                </c:pt>
                <c:pt idx="11">
                  <c:v>1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  <c:pt idx="10" c:formatCode="0.00%">
                  <c:v>0.0172910662824208</c:v>
                </c:pt>
                <c:pt idx="11" c:formatCode="0.00%">
                  <c:v>0.053824362606232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  <c:pt idx="10" c:formatCode="0.00%">
                  <c:v>0.2</c:v>
                </c:pt>
                <c:pt idx="11" c:formatCode="0.00%">
                  <c:v>2.1666666666666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2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93:$B$99</c:f>
              <c:numCache>
                <c:formatCode>General</c:formatCode>
                <c:ptCount val="7"/>
                <c:pt idx="0">
                  <c:v>3.5</c:v>
                </c:pt>
                <c:pt idx="1">
                  <c:v>0.9</c:v>
                </c:pt>
                <c:pt idx="2">
                  <c:v>0.4</c:v>
                </c:pt>
                <c:pt idx="3">
                  <c:v>0.5</c:v>
                </c:pt>
                <c:pt idx="4">
                  <c:v>0.7</c:v>
                </c:pt>
                <c:pt idx="5">
                  <c:v>1</c:v>
                </c:pt>
                <c:pt idx="6">
                  <c:v>3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C$93:$C$99</c:f>
              <c:numCache>
                <c:formatCode>0%</c:formatCode>
                <c:ptCount val="7"/>
                <c:pt idx="0">
                  <c:v>-0.0789473684210526</c:v>
                </c:pt>
                <c:pt idx="1">
                  <c:v>-0.742857142857143</c:v>
                </c:pt>
                <c:pt idx="2">
                  <c:v>-0.555555555555556</c:v>
                </c:pt>
                <c:pt idx="3">
                  <c:v>0.25</c:v>
                </c:pt>
                <c:pt idx="4">
                  <c:v>0.4</c:v>
                </c:pt>
                <c:pt idx="5">
                  <c:v>0.428571428571429</c:v>
                </c:pt>
                <c:pt idx="6">
                  <c:v>2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1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5:$A$91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B$85:$B$91</c:f>
              <c:numCache>
                <c:formatCode>General</c:formatCode>
                <c:ptCount val="7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5:$A$91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C$85:$C$91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85:$A$91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D$85:$D$91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85:$A$91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E$85:$E$91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-0.75</c:v>
                </c:pt>
                <c:pt idx="4">
                  <c:v>1</c:v>
                </c:pt>
                <c:pt idx="5">
                  <c:v>0.5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1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B$86:$B$92</c:f>
              <c:numCache>
                <c:formatCode>General</c:formatCode>
                <c:ptCount val="7"/>
                <c:pt idx="0">
                  <c:v>4.8</c:v>
                </c:pt>
                <c:pt idx="1">
                  <c:v>2.6</c:v>
                </c:pt>
                <c:pt idx="2">
                  <c:v>2.5</c:v>
                </c:pt>
                <c:pt idx="3">
                  <c:v>1.1</c:v>
                </c:pt>
                <c:pt idx="4">
                  <c:v>4.8</c:v>
                </c:pt>
                <c:pt idx="5">
                  <c:v>0</c:v>
                </c:pt>
                <c:pt idx="6">
                  <c:v>3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C$86:$C$92</c:f>
              <c:numCache>
                <c:formatCode>0%</c:formatCode>
                <c:ptCount val="7"/>
                <c:pt idx="0">
                  <c:v>0</c:v>
                </c:pt>
                <c:pt idx="1">
                  <c:v>-0.458333333333333</c:v>
                </c:pt>
                <c:pt idx="2">
                  <c:v>-0.0384615384615385</c:v>
                </c:pt>
                <c:pt idx="3">
                  <c:v>-0.56</c:v>
                </c:pt>
                <c:pt idx="4">
                  <c:v>3.36363636363636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97764799524029"/>
          <c:y val="0.124080882352941"/>
          <c:w val="0.845335784086787"/>
          <c:h val="0.6359436274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C$2:$C$51</c:f>
              <c:numCache>
                <c:formatCode>0%</c:formatCode>
                <c:ptCount val="50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  <c:pt idx="43" c:formatCode="0.00%">
                  <c:v>0.00354421407052986</c:v>
                </c:pt>
                <c:pt idx="44" c:formatCode="0.00%">
                  <c:v>0.00565071516863853</c:v>
                </c:pt>
                <c:pt idx="45" c:formatCode="0.00%">
                  <c:v>0.00913081650570676</c:v>
                </c:pt>
                <c:pt idx="46" c:formatCode="0.00%">
                  <c:v>0.139203062467374</c:v>
                </c:pt>
                <c:pt idx="47" c:formatCode="0.00%">
                  <c:v>0.0336031770276463</c:v>
                </c:pt>
                <c:pt idx="48" c:formatCode="0.00%">
                  <c:v>0.0289640904388946</c:v>
                </c:pt>
                <c:pt idx="49" c:formatCode="0.00%">
                  <c:v>0.014505241993393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D$2:$D$51</c:f>
              <c:numCache>
                <c:formatCode>0%</c:formatCode>
                <c:ptCount val="50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  <c:pt idx="43" c:formatCode="0.00%">
                  <c:v>-0.851851851851852</c:v>
                </c:pt>
                <c:pt idx="44" c:formatCode="0.00%">
                  <c:v>0.6</c:v>
                </c:pt>
                <c:pt idx="45" c:formatCode="0.00%">
                  <c:v>0.625</c:v>
                </c:pt>
                <c:pt idx="46" c:formatCode="0.00%">
                  <c:v>14.3846153846154</c:v>
                </c:pt>
                <c:pt idx="47" c:formatCode="0.00%">
                  <c:v>-0.725</c:v>
                </c:pt>
                <c:pt idx="48" c:formatCode="0.00%">
                  <c:v>-0.109090909090909</c:v>
                </c:pt>
                <c:pt idx="49" c:formatCode="0.00%">
                  <c:v>-0.4846938775510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C$2:$C$51</c:f>
              <c:numCache>
                <c:formatCode>0.00</c:formatCode>
                <c:ptCount val="50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  <c:pt idx="43">
                  <c:v>12.8704545454545</c:v>
                </c:pt>
                <c:pt idx="44">
                  <c:v>12.6555555555556</c:v>
                </c:pt>
                <c:pt idx="45">
                  <c:v>12.4934782608696</c:v>
                </c:pt>
                <c:pt idx="46">
                  <c:v>13.9297872340426</c:v>
                </c:pt>
                <c:pt idx="47">
                  <c:v>14.0979166666667</c:v>
                </c:pt>
                <c:pt idx="48">
                  <c:v>14.2102040816327</c:v>
                </c:pt>
                <c:pt idx="49">
                  <c:v>14.12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C$2:$C$51</c:f>
              <c:numCache>
                <c:formatCode>0.00</c:formatCode>
                <c:ptCount val="50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  <c:pt idx="43">
                  <c:v>0.285714285714286</c:v>
                </c:pt>
                <c:pt idx="44">
                  <c:v>0.457142857142857</c:v>
                </c:pt>
                <c:pt idx="45">
                  <c:v>0.742857142857143</c:v>
                </c:pt>
                <c:pt idx="46">
                  <c:v>11.4285714285714</c:v>
                </c:pt>
                <c:pt idx="47">
                  <c:v>3.14285714285714</c:v>
                </c:pt>
                <c:pt idx="48">
                  <c:v>2.8</c:v>
                </c:pt>
                <c:pt idx="49">
                  <c:v>1.4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  <c:pt idx="10">
                  <c:v>96.9</c:v>
                </c:pt>
                <c:pt idx="11">
                  <c:v>5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  <c:pt idx="10" c:formatCode="0.00%">
                  <c:v>0.174437443744374</c:v>
                </c:pt>
                <c:pt idx="11" c:formatCode="0.00%">
                  <c:v>0.082771305947271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  <c:pt idx="10" c:formatCode="0.00%">
                  <c:v>1.68421052631579</c:v>
                </c:pt>
                <c:pt idx="11" c:formatCode="0.00%">
                  <c:v>-0.442724458204334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2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B$86:$B$92</c:f>
              <c:numCache>
                <c:formatCode>General</c:formatCode>
                <c:ptCount val="7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C$86:$C$9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D$86:$D$9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E$86:$E$92</c:f>
              <c:numCache>
                <c:formatCode>0%</c:formatCode>
                <c:ptCount val="7"/>
                <c:pt idx="0">
                  <c:v>0.0208333333333333</c:v>
                </c:pt>
                <c:pt idx="1">
                  <c:v>-0.0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1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yyyy/m/d</c:formatCode>
                <c:ptCount val="7"/>
                <c:pt idx="0" c:formatCode="yyyy/m/d">
                  <c:v>43899</c:v>
                </c:pt>
                <c:pt idx="1" c:formatCode="yyyy/m/d">
                  <c:v>43900</c:v>
                </c:pt>
                <c:pt idx="2" c:formatCode="yyyy/m/d">
                  <c:v>43901</c:v>
                </c:pt>
                <c:pt idx="3" c:formatCode="yyyy/m/d">
                  <c:v>43902</c:v>
                </c:pt>
                <c:pt idx="4" c:formatCode="yyyy/m/d">
                  <c:v>43903</c:v>
                </c:pt>
                <c:pt idx="5" c:formatCode="yyyy/m/d">
                  <c:v>43904</c:v>
                </c:pt>
                <c:pt idx="6" c:formatCode="yyyy/m/d">
                  <c:v>43905</c:v>
                </c:pt>
              </c:numCache>
            </c:numRef>
          </c:cat>
          <c:val>
            <c:numRef>
              <c:f>Sheet1!$B$79:$B$85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79:$A$85</c:f>
              <c:numCache>
                <c:formatCode>yyyy/m/d</c:formatCode>
                <c:ptCount val="7"/>
                <c:pt idx="0" c:formatCode="yyyy/m/d">
                  <c:v>43899</c:v>
                </c:pt>
                <c:pt idx="1" c:formatCode="yyyy/m/d">
                  <c:v>43900</c:v>
                </c:pt>
                <c:pt idx="2" c:formatCode="yyyy/m/d">
                  <c:v>43901</c:v>
                </c:pt>
                <c:pt idx="3" c:formatCode="yyyy/m/d">
                  <c:v>43902</c:v>
                </c:pt>
                <c:pt idx="4" c:formatCode="yyyy/m/d">
                  <c:v>43903</c:v>
                </c:pt>
                <c:pt idx="5" c:formatCode="yyyy/m/d">
                  <c:v>43904</c:v>
                </c:pt>
                <c:pt idx="6" c:formatCode="yyyy/m/d">
                  <c:v>43905</c:v>
                </c:pt>
              </c:numCache>
            </c:numRef>
          </c:cat>
          <c:val>
            <c:numRef>
              <c:f>Sheet1!$C$79:$C$8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79:$A$85</c:f>
              <c:numCache>
                <c:formatCode>yyyy/m/d</c:formatCode>
                <c:ptCount val="7"/>
                <c:pt idx="0" c:formatCode="yyyy/m/d">
                  <c:v>43899</c:v>
                </c:pt>
                <c:pt idx="1" c:formatCode="yyyy/m/d">
                  <c:v>43900</c:v>
                </c:pt>
                <c:pt idx="2" c:formatCode="yyyy/m/d">
                  <c:v>43901</c:v>
                </c:pt>
                <c:pt idx="3" c:formatCode="yyyy/m/d">
                  <c:v>43902</c:v>
                </c:pt>
                <c:pt idx="4" c:formatCode="yyyy/m/d">
                  <c:v>43903</c:v>
                </c:pt>
                <c:pt idx="5" c:formatCode="yyyy/m/d">
                  <c:v>43904</c:v>
                </c:pt>
                <c:pt idx="6" c:formatCode="yyyy/m/d">
                  <c:v>43905</c:v>
                </c:pt>
              </c:numCache>
            </c:numRef>
          </c:cat>
          <c:val>
            <c:numRef>
              <c:f>Sheet1!$D$79:$D$8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9:$A$85</c:f>
              <c:numCache>
                <c:formatCode>yyyy/m/d</c:formatCode>
                <c:ptCount val="7"/>
                <c:pt idx="0" c:formatCode="yyyy/m/d">
                  <c:v>43899</c:v>
                </c:pt>
                <c:pt idx="1" c:formatCode="yyyy/m/d">
                  <c:v>43900</c:v>
                </c:pt>
                <c:pt idx="2" c:formatCode="yyyy/m/d">
                  <c:v>43901</c:v>
                </c:pt>
                <c:pt idx="3" c:formatCode="yyyy/m/d">
                  <c:v>43902</c:v>
                </c:pt>
                <c:pt idx="4" c:formatCode="yyyy/m/d">
                  <c:v>43903</c:v>
                </c:pt>
                <c:pt idx="5" c:formatCode="yyyy/m/d">
                  <c:v>43904</c:v>
                </c:pt>
                <c:pt idx="6" c:formatCode="yyyy/m/d">
                  <c:v>43905</c:v>
                </c:pt>
              </c:numCache>
            </c:numRef>
          </c:cat>
          <c:val>
            <c:numRef>
              <c:f>Sheet1!$E$79:$E$85</c:f>
              <c:numCache>
                <c:formatCode>0%</c:formatCode>
                <c:ptCount val="7"/>
                <c:pt idx="0">
                  <c:v>0.024390243902439</c:v>
                </c:pt>
                <c:pt idx="1">
                  <c:v>0</c:v>
                </c:pt>
                <c:pt idx="2">
                  <c:v>0</c:v>
                </c:pt>
                <c:pt idx="3">
                  <c:v>-0.0227272727272727</c:v>
                </c:pt>
                <c:pt idx="4">
                  <c:v>0</c:v>
                </c:pt>
                <c:pt idx="5">
                  <c:v>0.0681818181818182</c:v>
                </c:pt>
                <c:pt idx="6">
                  <c:v>-0.042553191489361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  <c:pt idx="49">
                  <c:v>1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C$2:$C$51</c:f>
              <c:numCache>
                <c:formatCode>General</c:formatCode>
                <c:ptCount val="50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D$2:$D$51</c:f>
              <c:numCache>
                <c:formatCode>General</c:formatCode>
                <c:ptCount val="50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E$2:$E$51</c:f>
              <c:numCache>
                <c:formatCode>0.00%</c:formatCode>
                <c:ptCount val="50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  <c:pt idx="43">
                  <c:v>0</c:v>
                </c:pt>
                <c:pt idx="44">
                  <c:v>0.0130841121495327</c:v>
                </c:pt>
                <c:pt idx="45">
                  <c:v>0.0018450184501845</c:v>
                </c:pt>
                <c:pt idx="46">
                  <c:v>0.0202578268876611</c:v>
                </c:pt>
                <c:pt idx="47">
                  <c:v>0.0108303249097473</c:v>
                </c:pt>
                <c:pt idx="48">
                  <c:v>0.0125</c:v>
                </c:pt>
                <c:pt idx="49">
                  <c:v>0.0017636684303351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F$2:$F$51</c:f>
              <c:numCache>
                <c:formatCode>0.00%</c:formatCode>
                <c:ptCount val="50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  <c:pt idx="43">
                  <c:v>-1</c:v>
                </c:pt>
                <c:pt idx="44">
                  <c:v>0</c:v>
                </c:pt>
                <c:pt idx="45">
                  <c:v>-0.857142857142857</c:v>
                </c:pt>
                <c:pt idx="46">
                  <c:v>10</c:v>
                </c:pt>
                <c:pt idx="47">
                  <c:v>-0.454545454545455</c:v>
                </c:pt>
                <c:pt idx="48">
                  <c:v>0.166666666666667</c:v>
                </c:pt>
                <c:pt idx="49">
                  <c:v>-0.8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  <c:pt idx="49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C$2:$C$51</c:f>
              <c:numCache>
                <c:formatCode>General</c:formatCode>
                <c:ptCount val="50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D$2:$D$51</c:f>
              <c:numCache>
                <c:formatCode>General</c:formatCode>
                <c:ptCount val="50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E$2:$E$51</c:f>
              <c:numCache>
                <c:formatCode>0</c:formatCode>
                <c:ptCount val="50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  <c:pt idx="43">
                  <c:v>12.1590909090909</c:v>
                </c:pt>
                <c:pt idx="44">
                  <c:v>12.0444444444444</c:v>
                </c:pt>
                <c:pt idx="45">
                  <c:v>11.804347826087</c:v>
                </c:pt>
                <c:pt idx="46">
                  <c:v>11.7872340425532</c:v>
                </c:pt>
                <c:pt idx="47">
                  <c:v>11.6666666666667</c:v>
                </c:pt>
                <c:pt idx="48">
                  <c:v>11.5714285714286</c:v>
                </c:pt>
                <c:pt idx="49">
                  <c:v>11.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E$2:$E$51</c:f>
              <c:numCache>
                <c:formatCode>0.0</c:formatCode>
                <c:ptCount val="50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  <c:pt idx="43">
                  <c:v>0</c:v>
                </c:pt>
                <c:pt idx="44">
                  <c:v>0.428571428571429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428571428571429</c:v>
                </c:pt>
                <c:pt idx="48">
                  <c:v>0.857142857142857</c:v>
                </c:pt>
                <c:pt idx="49">
                  <c:v>0.142857142857143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F$2:$F$51</c:f>
              <c:numCache>
                <c:formatCode>0.0</c:formatCode>
                <c:ptCount val="50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.142857142857143</c:v>
                </c:pt>
                <c:pt idx="45">
                  <c:v>0</c:v>
                </c:pt>
                <c:pt idx="46">
                  <c:v>0</c:v>
                </c:pt>
                <c:pt idx="47">
                  <c:v>0.142857142857143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G$2:$G$51</c:f>
              <c:numCache>
                <c:formatCode>0.0</c:formatCode>
                <c:ptCount val="50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  <c:pt idx="43">
                  <c:v>0</c:v>
                </c:pt>
                <c:pt idx="44">
                  <c:v>0.428571428571429</c:v>
                </c:pt>
                <c:pt idx="45">
                  <c:v>0</c:v>
                </c:pt>
                <c:pt idx="46">
                  <c:v>0</c:v>
                </c:pt>
                <c:pt idx="47">
                  <c:v>0.285714285714286</c:v>
                </c:pt>
                <c:pt idx="48">
                  <c:v>0.142857142857143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H$2:$H$51</c:f>
              <c:numCache>
                <c:formatCode>0</c:formatCode>
                <c:ptCount val="50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7</c:v>
                </c:pt>
                <c:pt idx="42">
                  <c:v>0.571428571428571</c:v>
                </c:pt>
                <c:pt idx="43">
                  <c:v>0</c:v>
                </c:pt>
                <c:pt idx="44">
                  <c:v>1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857142857142857</c:v>
                </c:pt>
                <c:pt idx="48">
                  <c:v>1</c:v>
                </c:pt>
                <c:pt idx="49">
                  <c:v>0.1428571428571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25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20</c:v>
                </c:pt>
                <c:pt idx="49">
                  <c:v>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C$2:$C$51</c:f>
              <c:numCache>
                <c:formatCode>General</c:formatCode>
                <c:ptCount val="50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  <c:pt idx="49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D$2:$D$51</c:f>
              <c:numCache>
                <c:formatCode>General</c:formatCode>
                <c:ptCount val="50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E$2:$E$51</c:f>
              <c:numCache>
                <c:formatCode>0.00%</c:formatCode>
                <c:ptCount val="50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42857142857143</c:v>
                </c:pt>
                <c:pt idx="43">
                  <c:v>0.0550847457627119</c:v>
                </c:pt>
                <c:pt idx="44">
                  <c:v>0.0319634703196347</c:v>
                </c:pt>
                <c:pt idx="45">
                  <c:v>0.0825242718446602</c:v>
                </c:pt>
                <c:pt idx="46">
                  <c:v>0.0569948186528497</c:v>
                </c:pt>
                <c:pt idx="47">
                  <c:v>0.102702702702703</c:v>
                </c:pt>
                <c:pt idx="48">
                  <c:v>0.110526315789474</c:v>
                </c:pt>
                <c:pt idx="49">
                  <c:v>0.055276381909547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F$2:$F$51</c:f>
              <c:numCache>
                <c:formatCode>0.00%</c:formatCode>
                <c:ptCount val="50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0303030303030303</c:v>
                </c:pt>
                <c:pt idx="43">
                  <c:v>-0.59375</c:v>
                </c:pt>
                <c:pt idx="44">
                  <c:v>-0.461538461538462</c:v>
                </c:pt>
                <c:pt idx="45">
                  <c:v>1.42857142857143</c:v>
                </c:pt>
                <c:pt idx="46">
                  <c:v>-0.352941176470588</c:v>
                </c:pt>
                <c:pt idx="47">
                  <c:v>0.727272727272727</c:v>
                </c:pt>
                <c:pt idx="48">
                  <c:v>0.105263157894737</c:v>
                </c:pt>
                <c:pt idx="49">
                  <c:v>-0.47619047619047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  <c:pt idx="10">
                  <c:v>12</c:v>
                </c:pt>
                <c:pt idx="11">
                  <c:v>1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9972ae09-6964-422f-ab84-58abdbcf6b1a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8c53a03e-0f57-4aae-ac13-aa42423ebf48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f8a80707-0cee-4910-bcf9-fc2bf2083443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0f9936fd-e279-4e7e-b466-a53f7b7cf0f3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3</c:v>
                </c:pt>
                <c:pt idx="11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  <c:pt idx="10" c:formatCode="0%">
                  <c:v>0.0299065420560748</c:v>
                </c:pt>
                <c:pt idx="11" c:formatCode="0%">
                  <c:v>0.0308529945553539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  <c:pt idx="10" c:formatCode="0%">
                  <c:v>0.0666666666666667</c:v>
                </c:pt>
                <c:pt idx="11" c:formatCode="0%">
                  <c:v>0.06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42</c:v>
                </c:pt>
                <c:pt idx="1">
                  <c:v>101</c:v>
                </c:pt>
                <c:pt idx="2">
                  <c:v>1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C$2:$C$51</c:f>
              <c:numCache>
                <c:formatCode>General</c:formatCode>
                <c:ptCount val="50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D$2:$D$51</c:f>
              <c:numCache>
                <c:formatCode>General</c:formatCode>
                <c:ptCount val="50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E$2:$E$51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F$2:$F$51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G$2:$G$51</c:f>
              <c:numCache>
                <c:formatCode>0%</c:formatCode>
                <c:ptCount val="50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  <c:pt idx="49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H$2:$H$51</c:f>
              <c:numCache>
                <c:formatCode>0%</c:formatCode>
                <c:ptCount val="50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  <c:pt idx="49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C$2:$C$51</c:f>
              <c:numCache>
                <c:formatCode>General</c:formatCode>
                <c:ptCount val="50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D$2:$D$51</c:f>
              <c:numCache>
                <c:formatCode>General</c:formatCode>
                <c:ptCount val="50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E$2:$E$51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F$2:$F$51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G$2:$G$51</c:f>
              <c:numCache>
                <c:formatCode>0</c:formatCode>
                <c:ptCount val="50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  <c:pt idx="43">
                  <c:v>0.659090909090909</c:v>
                </c:pt>
                <c:pt idx="44">
                  <c:v>0.644444444444444</c:v>
                </c:pt>
                <c:pt idx="45">
                  <c:v>0.630434782608696</c:v>
                </c:pt>
                <c:pt idx="46">
                  <c:v>0.617021276595745</c:v>
                </c:pt>
                <c:pt idx="47">
                  <c:v>0.604166666666667</c:v>
                </c:pt>
                <c:pt idx="48">
                  <c:v>0.591836734693878</c:v>
                </c:pt>
                <c:pt idx="49">
                  <c:v>0.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G$2:$G$51</c:f>
              <c:numCache>
                <c:formatCode>0.00</c:formatCode>
                <c:ptCount val="50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H$2:$H$51</c:f>
              <c:numCache>
                <c:formatCode>0.00</c:formatCode>
                <c:ptCount val="50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I$2:$I$51</c:f>
              <c:numCache>
                <c:formatCode>0.00</c:formatCode>
                <c:ptCount val="50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J$2:$J$51</c:f>
              <c:numCache>
                <c:formatCode>0.00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K$2:$K$51</c:f>
              <c:numCache>
                <c:formatCode>0.00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L$2:$L$51</c:f>
              <c:numCache>
                <c:formatCode>0.00</c:formatCode>
                <c:ptCount val="50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G$2:$G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H$2:$H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C$2:$C$51</c:f>
              <c:numCache>
                <c:formatCode>0%</c:formatCode>
                <c:ptCount val="50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89855072463768</c:v>
                </c:pt>
                <c:pt idx="47" c:formatCode="0.00%">
                  <c:v>0.0422535211267606</c:v>
                </c:pt>
                <c:pt idx="48" c:formatCode="0.00%">
                  <c:v>0</c:v>
                </c:pt>
                <c:pt idx="49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D$2:$D$51</c:f>
              <c:numCache>
                <c:formatCode>0%</c:formatCode>
                <c:ptCount val="50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5</c:v>
                </c:pt>
                <c:pt idx="48" c:formatCode="0.00%">
                  <c:v>-1</c:v>
                </c:pt>
                <c:pt idx="49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C$2:$C$51</c:f>
              <c:numCache>
                <c:formatCode>0</c:formatCode>
                <c:ptCount val="50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  <c:pt idx="43">
                  <c:v>1.56818181818182</c:v>
                </c:pt>
                <c:pt idx="44">
                  <c:v>1.53333333333333</c:v>
                </c:pt>
                <c:pt idx="45">
                  <c:v>1.5</c:v>
                </c:pt>
                <c:pt idx="46">
                  <c:v>1.51063829787234</c:v>
                </c:pt>
                <c:pt idx="47">
                  <c:v>1.54166666666667</c:v>
                </c:pt>
                <c:pt idx="48">
                  <c:v>1.51020408163265</c:v>
                </c:pt>
                <c:pt idx="49">
                  <c:v>1.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C$2:$C$51</c:f>
              <c:numCache>
                <c:formatCode>0.00</c:formatCode>
                <c:ptCount val="50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.285714285714286</c:v>
                </c:pt>
                <c:pt idx="47">
                  <c:v>0.428571428571429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  <c:pt idx="10" c:formatCode="0.00%">
                  <c:v>0.0144927536231884</c:v>
                </c:pt>
                <c:pt idx="11" c:formatCode="0.00%">
                  <c:v>0.057142857142857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  <c:pt idx="10" c:formatCode="0.00%">
                  <c:v>0</c:v>
                </c:pt>
                <c:pt idx="11" c:formatCode="0.00%">
                  <c:v>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637055931389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20</c:v>
                </c:pt>
                <c:pt idx="49">
                  <c:v>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C$2:$C$51</c:f>
              <c:numCache>
                <c:formatCode>General</c:formatCode>
                <c:ptCount val="50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  <c:pt idx="49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D$2:$D$51</c:f>
              <c:numCache>
                <c:formatCode>General</c:formatCode>
                <c:ptCount val="50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E$2:$E$51</c:f>
              <c:numCache>
                <c:formatCode>0</c:formatCode>
                <c:ptCount val="50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  <c:pt idx="43">
                  <c:v>26.4772727272727</c:v>
                </c:pt>
                <c:pt idx="44">
                  <c:v>26.0444444444444</c:v>
                </c:pt>
                <c:pt idx="45">
                  <c:v>25.8478260869565</c:v>
                </c:pt>
                <c:pt idx="46">
                  <c:v>25.531914893617</c:v>
                </c:pt>
                <c:pt idx="47">
                  <c:v>25.3958333333333</c:v>
                </c:pt>
                <c:pt idx="48">
                  <c:v>25.3061224489796</c:v>
                </c:pt>
                <c:pt idx="49">
                  <c:v>25.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4177207337489"/>
          <c:y val="0.152993098031772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E$2:$E$51</c:f>
              <c:numCache>
                <c:formatCode>0</c:formatCode>
                <c:ptCount val="50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  <c:pt idx="43">
                  <c:v>1.14285714285714</c:v>
                </c:pt>
                <c:pt idx="44">
                  <c:v>0.285714285714286</c:v>
                </c:pt>
                <c:pt idx="45">
                  <c:v>2.42857142857143</c:v>
                </c:pt>
                <c:pt idx="46">
                  <c:v>1.28571428571429</c:v>
                </c:pt>
                <c:pt idx="47">
                  <c:v>2.14285714285714</c:v>
                </c:pt>
                <c:pt idx="48">
                  <c:v>2.85714285714286</c:v>
                </c:pt>
                <c:pt idx="49">
                  <c:v>1.28571428571429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F$2:$F$51</c:f>
              <c:numCache>
                <c:formatCode>General</c:formatCode>
                <c:ptCount val="50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  <c:pt idx="43" c:formatCode="0">
                  <c:v>0.714285714285714</c:v>
                </c:pt>
                <c:pt idx="44" c:formatCode="0">
                  <c:v>0.714285714285714</c:v>
                </c:pt>
                <c:pt idx="45" c:formatCode="0">
                  <c:v>0</c:v>
                </c:pt>
                <c:pt idx="46" c:formatCode="0">
                  <c:v>0.285714285714286</c:v>
                </c:pt>
                <c:pt idx="47" c:formatCode="0">
                  <c:v>0.571428571428571</c:v>
                </c:pt>
                <c:pt idx="48" c:formatCode="0">
                  <c:v>0.142857142857143</c:v>
                </c:pt>
                <c:pt idx="49" c:formatCode="0">
                  <c:v>0.285714285714286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G$2:$G$51</c:f>
              <c:numCache>
                <c:formatCode>0</c:formatCode>
                <c:ptCount val="50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</c:strCache>
            </c:strRef>
          </c:cat>
          <c:val>
            <c:numRef>
              <c:f>Sheet1!$H$2:$H$51</c:f>
              <c:numCache>
                <c:formatCode>0</c:formatCode>
                <c:ptCount val="50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2</c:v>
                </c:pt>
                <c:pt idx="42">
                  <c:v>3.57142857142857</c:v>
                </c:pt>
                <c:pt idx="43">
                  <c:v>1.85714285714286</c:v>
                </c:pt>
                <c:pt idx="44">
                  <c:v>1</c:v>
                </c:pt>
                <c:pt idx="45">
                  <c:v>2.42857142857143</c:v>
                </c:pt>
                <c:pt idx="46">
                  <c:v>1.57142857142857</c:v>
                </c:pt>
                <c:pt idx="47">
                  <c:v>2.71428571428571</c:v>
                </c:pt>
                <c:pt idx="48">
                  <c:v>3</c:v>
                </c:pt>
                <c:pt idx="49">
                  <c:v>1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  <c:pt idx="10">
                  <c:v>40</c:v>
                </c:pt>
                <c:pt idx="11">
                  <c:v>4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14</c:v>
                </c:pt>
                <c:pt idx="11">
                  <c:v>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0%</c:formatCode>
                <c:ptCount val="12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  <c:pt idx="10">
                  <c:v>0.504672897196262</c:v>
                </c:pt>
                <c:pt idx="11">
                  <c:v>1.0185185185185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0%</c:formatCode>
                <c:ptCount val="12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  <c:pt idx="10">
                  <c:v>-0.495327102803738</c:v>
                </c:pt>
                <c:pt idx="11">
                  <c:v>0.018518518518518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2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93:$B$99</c:f>
              <c:numCache>
                <c:formatCode>General</c:formatCode>
                <c:ptCount val="7"/>
                <c:pt idx="0">
                  <c:v>3</c:v>
                </c:pt>
                <c:pt idx="1">
                  <c:v>3</c:v>
                </c:pt>
                <c:pt idx="2">
                  <c:v>5</c:v>
                </c:pt>
                <c:pt idx="3">
                  <c:v>1</c:v>
                </c:pt>
                <c:pt idx="4">
                  <c:v>2</c:v>
                </c:pt>
                <c:pt idx="5">
                  <c:v>4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C$93:$C$99</c:f>
              <c:numCache>
                <c:formatCode>0%</c:formatCode>
                <c:ptCount val="7"/>
                <c:pt idx="0">
                  <c:v>2</c:v>
                </c:pt>
                <c:pt idx="1">
                  <c:v>0</c:v>
                </c:pt>
                <c:pt idx="2">
                  <c:v>0.666666666666667</c:v>
                </c:pt>
                <c:pt idx="3">
                  <c:v>-0.8</c:v>
                </c:pt>
                <c:pt idx="4">
                  <c:v>1</c:v>
                </c:pt>
                <c:pt idx="5">
                  <c:v>1</c:v>
                </c:pt>
                <c:pt idx="6">
                  <c:v>-0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1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B$86:$B$92</c:f>
              <c:numCache>
                <c:formatCode>General</c:formatCode>
                <c:ptCount val="7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m/d;@</c:formatCode>
                <c:ptCount val="7"/>
                <c:pt idx="0" c:formatCode="m/d;@">
                  <c:v>43899</c:v>
                </c:pt>
                <c:pt idx="1" c:formatCode="m/d;@">
                  <c:v>43900</c:v>
                </c:pt>
                <c:pt idx="2" c:formatCode="m/d;@">
                  <c:v>43901</c:v>
                </c:pt>
                <c:pt idx="3" c:formatCode="m/d;@">
                  <c:v>43902</c:v>
                </c:pt>
                <c:pt idx="4" c:formatCode="m/d;@">
                  <c:v>43903</c:v>
                </c:pt>
                <c:pt idx="5" c:formatCode="m/d;@">
                  <c:v>43904</c:v>
                </c:pt>
                <c:pt idx="6" c:formatCode="m/d;@">
                  <c:v>43905</c:v>
                </c:pt>
              </c:numCache>
            </c:numRef>
          </c:cat>
          <c:val>
            <c:numRef>
              <c:f>Sheet1!$C$86:$C$92</c:f>
              <c:numCache>
                <c:formatCode>0%</c:formatCode>
                <c:ptCount val="7"/>
                <c:pt idx="0">
                  <c:v>1</c:v>
                </c:pt>
                <c:pt idx="1">
                  <c:v>0</c:v>
                </c:pt>
                <c:pt idx="2">
                  <c:v>-0.5</c:v>
                </c:pt>
                <c:pt idx="3">
                  <c:v>0</c:v>
                </c:pt>
                <c:pt idx="4">
                  <c:v>0</c:v>
                </c:pt>
                <c:pt idx="5">
                  <c:v>-0.5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289988899343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B$2:$B$51</c:f>
              <c:numCache>
                <c:formatCode>General</c:formatCode>
                <c:ptCount val="50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C$2:$C$51</c:f>
              <c:numCache>
                <c:formatCode>0%</c:formatCode>
                <c:ptCount val="50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  <c:pt idx="43" c:formatCode="0.00%">
                  <c:v>0.0107361963190184</c:v>
                </c:pt>
                <c:pt idx="44" c:formatCode="0.00%">
                  <c:v>0.0189681335356601</c:v>
                </c:pt>
                <c:pt idx="45" c:formatCode="0.00%">
                  <c:v>0.0178704393149665</c:v>
                </c:pt>
                <c:pt idx="46" c:formatCode="0.00%">
                  <c:v>0.0204828090709583</c:v>
                </c:pt>
                <c:pt idx="47" c:formatCode="0.00%">
                  <c:v>0.0207885304659498</c:v>
                </c:pt>
                <c:pt idx="48" c:formatCode="0.00%">
                  <c:v>0.0112359550561798</c:v>
                </c:pt>
                <c:pt idx="49" c:formatCode="0.00%">
                  <c:v>0.013888888888888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1</c:f>
              <c:strCache>
                <c:ptCount val="5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</c:strCache>
            </c:strRef>
          </c:cat>
          <c:val>
            <c:numRef>
              <c:f>Sheet1!$D$2:$D$51</c:f>
              <c:numCache>
                <c:formatCode>0%</c:formatCode>
                <c:ptCount val="50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  <c:pt idx="43" c:formatCode="0.00%">
                  <c:v>-0.44</c:v>
                </c:pt>
                <c:pt idx="44" c:formatCode="0.00%">
                  <c:v>0.785714285714286</c:v>
                </c:pt>
                <c:pt idx="45" c:formatCode="0.00%">
                  <c:v>-0.04</c:v>
                </c:pt>
                <c:pt idx="46" c:formatCode="0.00%">
                  <c:v>0.166666666666667</c:v>
                </c:pt>
                <c:pt idx="47" c:formatCode="0.00%">
                  <c:v>0.0357142857142857</c:v>
                </c:pt>
                <c:pt idx="48" c:formatCode="0.00%">
                  <c:v>-0.448275862068966</c:v>
                </c:pt>
                <c:pt idx="49" c:formatCode="0.00%">
                  <c:v>0.2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Relationship Id="rId3" Type="http://schemas.openxmlformats.org/officeDocument/2006/relationships/tags" Target="../tags/tag27.xml"/><Relationship Id="rId2" Type="http://schemas.openxmlformats.org/officeDocument/2006/relationships/chart" Target="../charts/chart14.xml"/><Relationship Id="rId1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7.xml"/><Relationship Id="rId1" Type="http://schemas.openxmlformats.org/officeDocument/2006/relationships/chart" Target="../charts/chart16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20.xml"/><Relationship Id="rId1" Type="http://schemas.openxmlformats.org/officeDocument/2006/relationships/chart" Target="../charts/chart19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2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3.xml"/><Relationship Id="rId1" Type="http://schemas.openxmlformats.org/officeDocument/2006/relationships/chart" Target="../charts/chart22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4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3.xml"/><Relationship Id="rId2" Type="http://schemas.openxmlformats.org/officeDocument/2006/relationships/chart" Target="../charts/chart26.xml"/><Relationship Id="rId1" Type="http://schemas.openxmlformats.org/officeDocument/2006/relationships/chart" Target="../charts/chart25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9.xml"/><Relationship Id="rId1" Type="http://schemas.openxmlformats.org/officeDocument/2006/relationships/chart" Target="../charts/chart2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31.xml"/><Relationship Id="rId1" Type="http://schemas.openxmlformats.org/officeDocument/2006/relationships/chart" Target="../charts/chart30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4.xml"/><Relationship Id="rId1" Type="http://schemas.openxmlformats.org/officeDocument/2006/relationships/chart" Target="../charts/chart33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5.xml"/></Relationships>
</file>

<file path=ppt/slides/_rels/slide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8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0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8.bin"/><Relationship Id="rId1" Type="http://schemas.openxmlformats.org/officeDocument/2006/relationships/tags" Target="../tags/tag59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6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8.xml"/><Relationship Id="rId1" Type="http://schemas.openxmlformats.org/officeDocument/2006/relationships/chart" Target="../charts/chart37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39.xml"/></Relationships>
</file>

<file path=ppt/slides/_rels/slide3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2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70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3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12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M</a:t>
            </a:r>
            <a:r>
              <a:rPr lang="en-US" altLang="en-GB" dirty="0"/>
              <a:t>ar</a:t>
            </a:r>
            <a:r>
              <a:rPr lang="en-US" altLang="zh-CN" dirty="0"/>
              <a:t> 23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09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12 vs. CW11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419850" y="216916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图表 6"/>
          <p:cNvGraphicFramePr/>
          <p:nvPr/>
        </p:nvGraphicFramePr>
        <p:xfrm>
          <a:off x="6094845" y="216916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83185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811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12 vs. CW11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437630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916940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12 vs. CW11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12 vs. CW11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12 vs. CW11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12 vs. CW11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12 vs. CW11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12 vs. CW11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12 vs. CW11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12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12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12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12 vs. CW11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6" name="Chart 7"/>
          <p:cNvGraphicFramePr/>
          <p:nvPr/>
        </p:nvGraphicFramePr>
        <p:xfrm>
          <a:off x="882650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43306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1089596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6731000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366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12 vs. CW11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2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87654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1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Mar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12 vs. CW11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523365" y="345769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TextBox 1"/>
          <p:cNvSpPr txBox="1"/>
          <p:nvPr/>
        </p:nvSpPr>
        <p:spPr>
          <a:xfrm>
            <a:off x="7731125" y="345769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1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2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1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rowth %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12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47.62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9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.8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6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9.2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7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4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.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9.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48.47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06.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.1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8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2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83.33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.8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0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5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sym typeface="+mn-ea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4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9532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12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12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4" y="1341438"/>
          <a:ext cx="11339830" cy="5302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3405"/>
                <a:gridCol w="2007235"/>
                <a:gridCol w="1544320"/>
                <a:gridCol w="1543685"/>
                <a:gridCol w="2007235"/>
                <a:gridCol w="1313180"/>
                <a:gridCol w="1080770"/>
              </a:tblGrid>
              <a:tr h="736600"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475"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+mn-ea"/>
                          <a:cs typeface="+mn-cs"/>
                        </a:rPr>
                        <a:t>2020/3/16 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+mn-ea"/>
                          <a:cs typeface="+mn-cs"/>
                        </a:rPr>
                        <a:t>1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48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GMT+08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弹性公网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P-EIP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382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16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14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1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2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3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2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382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3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10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3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3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10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12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12 vs. CW11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4" name="图表 3"/>
          <p:cNvGraphicFramePr/>
          <p:nvPr/>
        </p:nvGraphicFramePr>
        <p:xfrm>
          <a:off x="899478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8883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2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2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2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2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图表 7"/>
          <p:cNvGraphicFramePr/>
          <p:nvPr/>
        </p:nvGraphicFramePr>
        <p:xfrm>
          <a:off x="6614478" y="1642745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603365" y="5648766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1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1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1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1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5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47483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12 vs. CW11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088681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KSO_WM_UNIT_TABLE_BEAUTIFY" val="smartTable{a7b48daa-640c-4a45-8ea6-4a11ea6a042d}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hinkcellActiveDocDoNotDelete"/>
</p:tagLst>
</file>

<file path=ppt/tags/tag71.xml><?xml version="1.0" encoding="utf-8"?>
<p:tagLst xmlns:p="http://schemas.openxmlformats.org/presentationml/2006/main">
  <p:tag name="THINKCELLSHAPEDONOTDELETE" val="tAqrdWBk6QOqdh7N2Sulvng"/>
</p:tagLst>
</file>

<file path=ppt/tags/tag72.xml><?xml version="1.0" encoding="utf-8"?>
<p:tagLst xmlns:p="http://schemas.openxmlformats.org/presentationml/2006/main">
  <p:tag name="KSO_WM_UNIT_TABLE_BEAUTIFY" val="smartTable{a37833e2-7a5c-4f0d-94aa-47f774f57f94}"/>
</p:tagLst>
</file>

<file path=ppt/tags/tag73.xml><?xml version="1.0" encoding="utf-8"?>
<p:tagLst xmlns:p="http://schemas.openxmlformats.org/presentationml/2006/main">
  <p:tag name="THINKCELLSHAPEDONOTDELETE" val="thinkcellActiveDocDoNotDelete"/>
</p:tagLst>
</file>

<file path=ppt/tags/tag74.xml><?xml version="1.0" encoding="utf-8"?>
<p:tagLst xmlns:p="http://schemas.openxmlformats.org/presentationml/2006/main">
  <p:tag name="THINKCELLSHAPEDONOTDELETE" val="tAqrdWBk6QOqdh7N2Sulvng"/>
</p:tagLst>
</file>

<file path=ppt/tags/tag75.xml><?xml version="1.0" encoding="utf-8"?>
<p:tagLst xmlns:p="http://schemas.openxmlformats.org/presentationml/2006/main">
  <p:tag name="KSO_WM_UNIT_TABLE_BEAUTIFY" val="smartTable{dfb63ea6-2e9e-4201-988a-f90fc0aa7d9f}"/>
</p:tagLst>
</file>

<file path=ppt/tags/tag76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1207</Words>
  <Application>WPS 演示</Application>
  <PresentationFormat>宽屏</PresentationFormat>
  <Paragraphs>754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34</vt:i4>
      </vt:variant>
    </vt:vector>
  </HeadingPairs>
  <TitlesOfParts>
    <vt:vector size="84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12, 2020)   Mar 23,2020 </vt:lpstr>
      <vt:lpstr>Content</vt:lpstr>
      <vt:lpstr>Data summary  </vt:lpstr>
      <vt:lpstr>Daily downloads CW12 vs. CW11</vt:lpstr>
      <vt:lpstr>Weekly downloads since go live</vt:lpstr>
      <vt:lpstr>Average weekly downloads &amp; average daily downloads</vt:lpstr>
      <vt:lpstr>Monthly downloads since go live </vt:lpstr>
      <vt:lpstr>Daily active users CW12 vs. CW11</vt:lpstr>
      <vt:lpstr>Weekly active users since go live </vt:lpstr>
      <vt:lpstr>Average weekly active users &amp; average daily active users </vt:lpstr>
      <vt:lpstr>Monthly actives users since go live</vt:lpstr>
      <vt:lpstr>Daily journeys CW12 vs. CW11</vt:lpstr>
      <vt:lpstr>Weekly journeys since go live </vt:lpstr>
      <vt:lpstr>Average weekly journeys &amp; average daily journeys</vt:lpstr>
      <vt:lpstr>Monthly journeys since go live</vt:lpstr>
      <vt:lpstr>Daily running time CW12 vs. CW11</vt:lpstr>
      <vt:lpstr>Weekly running time since go live </vt:lpstr>
      <vt:lpstr>Average weekly running time &amp; average daily running time</vt:lpstr>
      <vt:lpstr>Monthly running time since go live </vt:lpstr>
      <vt:lpstr>User activities CW12 vs. CW11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12 vs. CW11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12 vs. CW11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12</vt:lpstr>
      <vt:lpstr>Log &amp; alert review report of CW12  </vt:lpstr>
      <vt:lpstr>SLA report of CW12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兔八哥</cp:lastModifiedBy>
  <cp:revision>1303</cp:revision>
  <dcterms:created xsi:type="dcterms:W3CDTF">2019-06-18T08:03:00Z</dcterms:created>
  <dcterms:modified xsi:type="dcterms:W3CDTF">2020-03-23T05:5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564</vt:lpwstr>
  </property>
</Properties>
</file>